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3" r:id="rId6"/>
    <p:sldMasterId id="2147483706" r:id="rId7"/>
    <p:sldMasterId id="2147483715" r:id="rId8"/>
  </p:sldMasterIdLst>
  <p:notesMasterIdLst>
    <p:notesMasterId r:id="rId34"/>
  </p:notesMasterIdLst>
  <p:handoutMasterIdLst>
    <p:handoutMasterId r:id="rId35"/>
  </p:handoutMasterIdLst>
  <p:sldIdLst>
    <p:sldId id="2147474688" r:id="rId9"/>
    <p:sldId id="2147474690" r:id="rId10"/>
    <p:sldId id="2147474692" r:id="rId11"/>
    <p:sldId id="2147474693" r:id="rId12"/>
    <p:sldId id="2147474691" r:id="rId13"/>
    <p:sldId id="2147474695" r:id="rId14"/>
    <p:sldId id="2147474696" r:id="rId15"/>
    <p:sldId id="2147474694" r:id="rId16"/>
    <p:sldId id="2147474687" r:id="rId17"/>
    <p:sldId id="2147474689" r:id="rId18"/>
    <p:sldId id="2147474686" r:id="rId19"/>
    <p:sldId id="2147474685" r:id="rId20"/>
    <p:sldId id="2147474682" r:id="rId21"/>
    <p:sldId id="2147474684" r:id="rId22"/>
    <p:sldId id="2147474683" r:id="rId23"/>
    <p:sldId id="2147474672" r:id="rId24"/>
    <p:sldId id="2147474673" r:id="rId25"/>
    <p:sldId id="2147474674" r:id="rId26"/>
    <p:sldId id="2147474675" r:id="rId27"/>
    <p:sldId id="2147474676" r:id="rId28"/>
    <p:sldId id="2147474677" r:id="rId29"/>
    <p:sldId id="2147474678" r:id="rId30"/>
    <p:sldId id="2147474679" r:id="rId31"/>
    <p:sldId id="2147474680" r:id="rId32"/>
    <p:sldId id="2147474681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C8EB"/>
    <a:srgbClr val="F9D3D3"/>
    <a:srgbClr val="FA8694"/>
    <a:srgbClr val="CDD9FA"/>
    <a:srgbClr val="262626"/>
    <a:srgbClr val="404040"/>
    <a:srgbClr val="F4B084"/>
    <a:srgbClr val="FFE699"/>
    <a:srgbClr val="C6E0B4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2" autoAdjust="0"/>
    <p:restoredTop sz="94796" autoAdjust="0"/>
  </p:normalViewPr>
  <p:slideViewPr>
    <p:cSldViewPr snapToGrid="0">
      <p:cViewPr>
        <p:scale>
          <a:sx n="80" d="100"/>
          <a:sy n="80" d="100"/>
        </p:scale>
        <p:origin x="11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8E24DE-C326-4A33-A703-053B6CF62C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A8A69D-C15C-45CA-8A4B-E5923C58E5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2F9433-4AFC-479A-91ED-E9CBA9BCD0AE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91FFD6-B791-4BFF-B435-F48F3D12BB1D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696233-E86B-4BB7-BDF3-DAB440BE31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874C3-CE0E-44C2-AF61-FF2A1F8C7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7136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5E80A9-8E84-453D-9D5B-BF351BB16076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091D7-7E21-48B8-9B0F-6AD5F1CF68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1064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仅供内部使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8091D7-7E21-48B8-9B0F-6AD5F1CF68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4130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47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873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19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0014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5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C83A98-69D8-4B8A-9C15-2B4EFECC47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9048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F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194109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F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F10CC6-76DC-41AB-B1F3-00DC66F918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2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1B4C3F-7989-4A5B-8E39-8C717CC909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6476C0-EDBD-4FCC-835E-2ED16BAB0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89DC65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DC82CE-C64E-46A7-83AE-DC100BAB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77858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2465B0C-332F-43C9-A1C1-D4841E0AE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89DC65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2BF00C4-87EE-492B-BE20-F125DC2F7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15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C70A22-7DE4-4E8D-843A-E83AB58A34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18A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C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5258D51-9BDF-44DE-95DE-3BCA6112B4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54524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84363BE-E6CC-42D6-9154-FEC255D7FA1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454887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946BD8-D4D0-4AE3-B8BE-B6BBFBAEC2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8097D8-B571-4158-8CA6-8E2A3AE6F9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5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092797" cy="417284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5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3FD239-7647-4281-927A-BFAD5103DC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0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1D28-4D27-4698-980C-2F43A6EED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22AF92-B671-4EBA-BC9C-3DBE8DED0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BAB42B-B333-4246-BB7A-49AA68202E0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98548-9C74-420D-963E-1AFD6CB13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30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311893BE-1981-44EF-9497-46C59A7EC2B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18C7F433-4F19-4D5D-AEC9-B254A6A3F1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8F588E5-AD2E-4815-B677-679FC0F38F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26884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93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458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25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87276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AC090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0CC6851-F93F-48F8-9106-2832EEEA0E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0AEE2FE2-47C2-4C26-91D4-B4AC25B4F8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4E86C3E-DE48-4274-82AC-A7E050220F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D6570DF7-46D6-4568-A3F4-D132BB714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02759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1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260435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853629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 dirty="0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194669" y="4949373"/>
            <a:ext cx="11893947" cy="1095827"/>
            <a:chOff x="0" y="5762174"/>
            <a:chExt cx="12197606" cy="1095826"/>
          </a:xfrm>
          <a:solidFill>
            <a:srgbClr val="B50102"/>
          </a:solidFill>
        </p:grpSpPr>
        <p:cxnSp>
          <p:nvCxnSpPr>
            <p:cNvPr id="9" name="直接连接符 8"/>
            <p:cNvCxnSpPr/>
            <p:nvPr/>
          </p:nvCxnSpPr>
          <p:spPr>
            <a:xfrm>
              <a:off x="0" y="57621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5606" y="59145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10"/>
            <p:cNvSpPr/>
            <p:nvPr/>
          </p:nvSpPr>
          <p:spPr>
            <a:xfrm>
              <a:off x="0" y="6045200"/>
              <a:ext cx="12192000" cy="812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/>
              <a:endParaRPr lang="zh-CN" altLang="en-US" sz="1867">
                <a:solidFill>
                  <a:prstClr val="white"/>
                </a:solidFill>
              </a:endParaRPr>
            </a:p>
          </p:txBody>
        </p:sp>
      </p:grp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213945" y="2446177"/>
            <a:ext cx="9538139" cy="1325563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54156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5725" y="3380445"/>
            <a:ext cx="10972800" cy="1143000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46" y="4796977"/>
            <a:ext cx="12075887" cy="209005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25986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57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760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65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6642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/>
          <p:cNvSpPr/>
          <p:nvPr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8" name="object 18"/>
          <p:cNvSpPr/>
          <p:nvPr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2180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8952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51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4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21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05271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4447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205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42620B-F544-4B9C-A554-A7363556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49B5474-42E4-45C3-BE5B-341B9D9D9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6478CF9-0506-4F65-8880-B211CE371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500CE-4FB9-483D-8EF9-19E68B70AC9A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9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3646487-24A9-4A14-8911-57C6333A5ED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742929-3A16-4491-BE62-C85BCB905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86526-4978-44E2-88E5-81B9DB6C174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80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367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67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5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00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866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542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80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50" r:id="rId3"/>
    <p:sldLayoutId id="2147483672" r:id="rId4"/>
    <p:sldLayoutId id="2147483651" r:id="rId5"/>
    <p:sldLayoutId id="2147483652" r:id="rId6"/>
    <p:sldLayoutId id="2147483673" r:id="rId7"/>
    <p:sldLayoutId id="2147483675" r:id="rId8"/>
    <p:sldLayoutId id="2147483676" r:id="rId9"/>
    <p:sldLayoutId id="2147483677" r:id="rId10"/>
    <p:sldLayoutId id="2147483680" r:id="rId11"/>
    <p:sldLayoutId id="2147483682" r:id="rId12"/>
    <p:sldLayoutId id="214748372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0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8" r:id="rId2"/>
    <p:sldLayoutId id="2147483661" r:id="rId3"/>
    <p:sldLayoutId id="2147483662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859A94E-1C8A-4C76-9411-3BC6C5ED5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01F20-ADE1-467E-99F3-A9D38402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0921883-E3F3-4674-B64F-04A390BC6F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6380-480D-483C-B273-B36E7CC7E1C0}" type="datetimeFigureOut">
              <a:rPr lang="zh-CN" altLang="en-US" smtClean="0"/>
              <a:t>2024/9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C40333-6AC9-4F6E-A5F4-EA55849F65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921F5A-D1D3-4652-8B77-0ED0814B3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7CE78-A4EE-4C07-8393-0BF1DA49B86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13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6AE01-8819-4A7A-8B96-41E4329CB7E9}" type="datetimeFigureOut">
              <a:rPr lang="zh-CN" altLang="en-US" smtClean="0"/>
              <a:t>2024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11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c88.com/p-68747900943490.html" TargetMode="Externa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OP</a:t>
            </a:r>
            <a:r>
              <a:rPr lang="zh-CN" altLang="en-US" dirty="0"/>
              <a:t>基本概念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F9FBF84-7F4D-DE5B-4889-58713A567A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101FB8-A8E5-AFFE-C194-FD6A2DF1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对象   </a:t>
            </a:r>
            <a:r>
              <a:rPr lang="en-US" altLang="zh-CN" dirty="0"/>
              <a:t>- 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82C0D8F-9593-31EF-6A62-F86DAEE5C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7F7147C-56A1-885D-011C-C6BA08D04F0B}"/>
              </a:ext>
            </a:extLst>
          </p:cNvPr>
          <p:cNvSpPr/>
          <p:nvPr/>
        </p:nvSpPr>
        <p:spPr>
          <a:xfrm>
            <a:off x="860234" y="1396850"/>
            <a:ext cx="6096000" cy="13692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Obje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：</a:t>
            </a:r>
            <a:r>
              <a:rPr lang="en-US" altLang="zh-CN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粗暴的理解 就是世界上存在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种</a:t>
            </a: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体 物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2400" b="1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 Class:   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某一些对象的共同属性和行为的抽取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defRPr/>
            </a:pPr>
            <a:endParaRPr lang="en-US" altLang="zh-CN" sz="1400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0650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321" name="Rectangle 13320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2F2434C7-73EB-9B38-B256-BC6E194A0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69" y="-22421"/>
            <a:ext cx="1154684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endParaRPr lang="en-US" altLang="zh-CN" sz="52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BBF2B6C-BBDE-A851-4E5E-0B200376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EB24D71-D3CD-4238-8384-7F99D478D4AE}" type="slidenum">
              <a:rPr lang="en-US" altLang="zh-CN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>
                <a:spcAft>
                  <a:spcPts val="600"/>
                </a:spcAft>
              </a:pPr>
              <a:t>11</a:t>
            </a:fld>
            <a:endParaRPr lang="en-US" altLang="zh-CN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63CE604-0113-8CC3-7963-C9639651B64F}"/>
              </a:ext>
            </a:extLst>
          </p:cNvPr>
          <p:cNvSpPr/>
          <p:nvPr/>
        </p:nvSpPr>
        <p:spPr>
          <a:xfrm>
            <a:off x="5422669" y="2328807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属性</a:t>
            </a:r>
            <a:r>
              <a:rPr lang="en-US" altLang="zh-CN" b="1" dirty="0"/>
              <a:t>(attributes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3F5A9F5-C9F3-9A28-5BA9-1093655AB396}"/>
              </a:ext>
            </a:extLst>
          </p:cNvPr>
          <p:cNvSpPr txBox="1"/>
          <p:nvPr/>
        </p:nvSpPr>
        <p:spPr>
          <a:xfrm>
            <a:off x="5762566" y="2889349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颜色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A6C12A2-C3CF-B897-7379-8DF6EBAC1E99}"/>
              </a:ext>
            </a:extLst>
          </p:cNvPr>
          <p:cNvSpPr/>
          <p:nvPr/>
        </p:nvSpPr>
        <p:spPr>
          <a:xfrm>
            <a:off x="5525192" y="3890666"/>
            <a:ext cx="3277986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行为能力</a:t>
            </a:r>
            <a:r>
              <a:rPr lang="en-US" altLang="zh-CN" b="1" dirty="0"/>
              <a:t>(behavior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72904DF-7E3E-1AC0-D219-9584406ACF7A}"/>
              </a:ext>
            </a:extLst>
          </p:cNvPr>
          <p:cNvSpPr txBox="1"/>
          <p:nvPr/>
        </p:nvSpPr>
        <p:spPr>
          <a:xfrm>
            <a:off x="5865089" y="4451208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（）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油</a:t>
            </a:r>
            <a:r>
              <a:rPr lang="en-US" altLang="zh-CN" dirty="0"/>
              <a:t>  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（）</a:t>
            </a:r>
          </a:p>
        </p:txBody>
      </p:sp>
    </p:spTree>
    <p:extLst>
      <p:ext uri="{BB962C8B-B14F-4D97-AF65-F5344CB8AC3E}">
        <p14:creationId xmlns:p14="http://schemas.microsoft.com/office/powerpoint/2010/main" val="9878944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5E39E10-ADA6-BA9F-7606-F44BCD7205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568" y="2241233"/>
            <a:ext cx="1753890" cy="1375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05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1B10C-7D60-E39E-0703-5E74A1642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E8112F-40B1-CCE6-18CA-2208C8554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3</a:t>
            </a:fld>
            <a:endParaRPr lang="zh-CN" altLang="en-US"/>
          </a:p>
        </p:txBody>
      </p:sp>
      <p:pic>
        <p:nvPicPr>
          <p:cNvPr id="11266" name="Picture 2" descr="Java Tutorials - OOP Concepts | Encapsulation | Abstraction ...">
            <a:extLst>
              <a:ext uri="{FF2B5EF4-FFF2-40B4-BE49-F238E27FC236}">
                <a16:creationId xmlns:a16="http://schemas.microsoft.com/office/drawing/2014/main" id="{E83C11A7-EC72-C519-16B8-97BB93696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880" y="-5138159"/>
            <a:ext cx="12183745" cy="1218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159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4C095C-C20A-CC6B-EA47-95F77C52B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9FA6380-FB06-8467-46D6-85E74FD09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AC989FD-E67A-67E5-4859-BF398F2BC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9350" y="1285875"/>
            <a:ext cx="7353300" cy="4286250"/>
          </a:xfrm>
          <a:prstGeom prst="rect">
            <a:avLst/>
          </a:prstGeom>
        </p:spPr>
      </p:pic>
      <p:pic>
        <p:nvPicPr>
          <p:cNvPr id="14338" name="Picture 2" descr="Intro to Classes and Objects - Java101">
            <a:extLst>
              <a:ext uri="{FF2B5EF4-FFF2-40B4-BE49-F238E27FC236}">
                <a16:creationId xmlns:a16="http://schemas.microsoft.com/office/drawing/2014/main" id="{86603F76-0CFC-4141-6000-E6671458B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0257" y="953714"/>
            <a:ext cx="4010025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043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9097AE-8967-1572-4D60-E37B5EBEE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6C5FC0-8DE2-97A3-431C-01B78A8BA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5</a:t>
            </a:fld>
            <a:endParaRPr lang="zh-CN" altLang="en-US"/>
          </a:p>
        </p:txBody>
      </p:sp>
      <p:pic>
        <p:nvPicPr>
          <p:cNvPr id="12290" name="Picture 2" descr="The OOP Concepts with TypeScript: Inheritance, Abstraction ...">
            <a:extLst>
              <a:ext uri="{FF2B5EF4-FFF2-40B4-BE49-F238E27FC236}">
                <a16:creationId xmlns:a16="http://schemas.microsoft.com/office/drawing/2014/main" id="{C151AAC1-E3FF-F88A-6B0F-A9782AD7D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772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6F8BE-8CE3-1A56-F09E-885E3262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9" y="341901"/>
            <a:ext cx="11362133" cy="665714"/>
          </a:xfrm>
        </p:spPr>
        <p:txBody>
          <a:bodyPr/>
          <a:lstStyle/>
          <a:p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OP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概念 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Abstraction</a:t>
            </a:r>
            <a:endParaRPr lang="en-CN" sz="3600" b="1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241E27-A1AF-9F4D-0EED-168C60B5E5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B24D71-D3CD-4238-8384-7F99D478D4AE}" type="slidenum">
              <a:rPr kumimoji="0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Microsoft YaHei"/>
                <a:cs typeface="Calibri Light" panose="020F03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Microsoft YaHei"/>
              <a:cs typeface="Calibri Light" panose="020F0302020204030204" pitchFamily="34" charset="0"/>
            </a:endParaRPr>
          </a:p>
        </p:txBody>
      </p:sp>
      <p:sp>
        <p:nvSpPr>
          <p:cNvPr id="10" name="BJPseudoFooter">
            <a:extLst>
              <a:ext uri="{FF2B5EF4-FFF2-40B4-BE49-F238E27FC236}">
                <a16:creationId xmlns:a16="http://schemas.microsoft.com/office/drawing/2014/main" id="{0D2062BE-8963-8EA6-06EB-93B570C0333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7000" y="6475968"/>
            <a:ext cx="11938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zh-CN" altLang="en-US"/>
              <a:t>仅供内部使用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6A6306-9107-8F00-96D4-C416D74A048E}"/>
              </a:ext>
            </a:extLst>
          </p:cNvPr>
          <p:cNvSpPr txBox="1"/>
          <p:nvPr/>
        </p:nvSpPr>
        <p:spPr>
          <a:xfrm>
            <a:off x="242139" y="1278373"/>
            <a:ext cx="6094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: Abstraction  </a:t>
            </a:r>
            <a:endParaRPr lang="zh-CN" altLang="en-US" dirty="0"/>
          </a:p>
        </p:txBody>
      </p:sp>
      <p:pic>
        <p:nvPicPr>
          <p:cNvPr id="10244" name="Picture 4" descr="Understanding OOP Concepts: OOP, Class &amp; Object - Shouts.dev">
            <a:extLst>
              <a:ext uri="{FF2B5EF4-FFF2-40B4-BE49-F238E27FC236}">
                <a16:creationId xmlns:a16="http://schemas.microsoft.com/office/drawing/2014/main" id="{CAB30A4F-C3B4-E295-DD47-4A8D7BF06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857375"/>
            <a:ext cx="74295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61033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BD2FAC-A3E6-B976-1B7D-C83853008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409026D-4C43-8F8E-AF00-472BB279DC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7</a:t>
            </a:fld>
            <a:endParaRPr lang="zh-CN" altLang="en-US"/>
          </a:p>
        </p:txBody>
      </p:sp>
      <p:pic>
        <p:nvPicPr>
          <p:cNvPr id="1026" name="Picture 2" descr="Object Oriented Programming (OOPS) Concepts in C++ | Simplilearn">
            <a:extLst>
              <a:ext uri="{FF2B5EF4-FFF2-40B4-BE49-F238E27FC236}">
                <a16:creationId xmlns:a16="http://schemas.microsoft.com/office/drawing/2014/main" id="{9AB16232-7C26-44A7-1705-670EA724B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1552575"/>
            <a:ext cx="4943475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31045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9C35A4-3F61-8A5C-6899-DD5DE1A2D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484E16E-2883-434A-A587-59FBEF695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9069499-1027-5E4C-8934-CA50DED93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87" y="609600"/>
            <a:ext cx="11096625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281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DE6131-0A65-A2F1-5673-4DA0ABEE7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8BAA56D-19D7-6A5D-169A-6D33AB57ED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19</a:t>
            </a:fld>
            <a:endParaRPr lang="zh-CN" altLang="en-US"/>
          </a:p>
        </p:txBody>
      </p:sp>
      <p:pic>
        <p:nvPicPr>
          <p:cNvPr id="3074" name="Picture 2" descr="Python OOPs Concepts [Object Oriented Programming]">
            <a:extLst>
              <a:ext uri="{FF2B5EF4-FFF2-40B4-BE49-F238E27FC236}">
                <a16:creationId xmlns:a16="http://schemas.microsoft.com/office/drawing/2014/main" id="{DCBB8362-B6A7-6DCD-9567-2ECB93A62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590675"/>
            <a:ext cx="8705850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919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2EAFBA-2A51-E914-58AA-AD5500BE0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念理解   </a:t>
            </a:r>
            <a:r>
              <a:rPr lang="en-US" altLang="zh-CN" dirty="0"/>
              <a:t>- </a:t>
            </a:r>
            <a:r>
              <a:rPr lang="zh-CN" altLang="en-US" dirty="0"/>
              <a:t>抽象（</a:t>
            </a:r>
            <a:r>
              <a:rPr lang="en-US" altLang="zh-CN" dirty="0"/>
              <a:t>Abstraction</a:t>
            </a:r>
            <a:r>
              <a:rPr lang="zh-CN" altLang="en-US" dirty="0"/>
              <a:t>）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EBF1A27-C4F9-C850-3DA2-76AD08BF2B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E88037C-5ED7-473B-8B21-761FEDB83FC2}"/>
              </a:ext>
            </a:extLst>
          </p:cNvPr>
          <p:cNvSpPr txBox="1"/>
          <p:nvPr/>
        </p:nvSpPr>
        <p:spPr>
          <a:xfrm>
            <a:off x="2589474" y="2123603"/>
            <a:ext cx="74768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抽象</a:t>
            </a:r>
            <a:r>
              <a:rPr lang="zh-CN" altLang="en-US" dirty="0"/>
              <a:t>就是 提取能表达该事物的重要</a:t>
            </a:r>
            <a:r>
              <a:rPr lang="zh-CN" altLang="en-US" sz="2400" b="1" dirty="0">
                <a:solidFill>
                  <a:srgbClr val="FF0000"/>
                </a:solidFill>
              </a:rPr>
              <a:t>特征（属性和行为</a:t>
            </a:r>
            <a:r>
              <a:rPr lang="en-US" altLang="zh-CN" sz="2400" b="1" dirty="0">
                <a:solidFill>
                  <a:srgbClr val="FF0000"/>
                </a:solidFill>
              </a:rPr>
              <a:t>)</a:t>
            </a:r>
            <a:r>
              <a:rPr lang="zh-CN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7205168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B11CDA-A9FF-67B6-2F1E-D62B97D7B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68C47FB-F951-48EC-D362-8EEE2D1F27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0</a:t>
            </a:fld>
            <a:endParaRPr lang="zh-CN" altLang="en-US"/>
          </a:p>
        </p:txBody>
      </p:sp>
      <p:pic>
        <p:nvPicPr>
          <p:cNvPr id="4098" name="Picture 2" descr="Basic concepts of OOPS and Structure of C++ program | IT Training and ...">
            <a:extLst>
              <a:ext uri="{FF2B5EF4-FFF2-40B4-BE49-F238E27FC236}">
                <a16:creationId xmlns:a16="http://schemas.microsoft.com/office/drawing/2014/main" id="{BB61A23A-294E-87DB-8F50-CC16B4D80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1900238"/>
            <a:ext cx="5524500" cy="305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369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1B5F513-3C83-ED8F-F067-553E2BA816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1</a:t>
            </a:fld>
            <a:endParaRPr lang="zh-CN" altLang="en-US"/>
          </a:p>
        </p:txBody>
      </p:sp>
      <p:pic>
        <p:nvPicPr>
          <p:cNvPr id="5122" name="Picture 2" descr="Object Oriented Programming Principles and Concepts Explained!">
            <a:extLst>
              <a:ext uri="{FF2B5EF4-FFF2-40B4-BE49-F238E27FC236}">
                <a16:creationId xmlns:a16="http://schemas.microsoft.com/office/drawing/2014/main" id="{DF214AEE-6C65-F65F-866E-ADD1EA97F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CCCCCC"/>
              </a:clrFrom>
              <a:clrTo>
                <a:srgbClr val="CCCCC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00" y="400050"/>
            <a:ext cx="6372971" cy="506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65364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7FD08F-439F-BB81-C120-7446F0EDB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0B5E86A-313D-B356-2411-4E30CD1F5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2</a:t>
            </a:fld>
            <a:endParaRPr lang="zh-CN" altLang="en-US"/>
          </a:p>
        </p:txBody>
      </p:sp>
      <p:pic>
        <p:nvPicPr>
          <p:cNvPr id="6146" name="Picture 2" descr="Classes and Objects in Java - Fundamentals of OOPs - DataFlair">
            <a:extLst>
              <a:ext uri="{FF2B5EF4-FFF2-40B4-BE49-F238E27FC236}">
                <a16:creationId xmlns:a16="http://schemas.microsoft.com/office/drawing/2014/main" id="{35A63437-D739-D682-740C-18D5777C0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38150"/>
            <a:ext cx="11430000" cy="5981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71368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BD867C1-6D9A-4121-0B5C-33162313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CAA351-1478-AD54-22DD-7B55B5834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87688C3-03AE-CE67-E244-C1B654144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497843"/>
            <a:ext cx="11579012" cy="611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986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E944BE-987D-CA72-6DE0-F41C3A367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05CB2D7-B000-5DDE-9C36-68B5DFE1C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4</a:t>
            </a:fld>
            <a:endParaRPr lang="zh-CN" altLang="en-US"/>
          </a:p>
        </p:txBody>
      </p:sp>
      <p:pic>
        <p:nvPicPr>
          <p:cNvPr id="8194" name="Picture 2" descr="Python Classes and Objects [Guide] – PYnative">
            <a:extLst>
              <a:ext uri="{FF2B5EF4-FFF2-40B4-BE49-F238E27FC236}">
                <a16:creationId xmlns:a16="http://schemas.microsoft.com/office/drawing/2014/main" id="{A901564F-B3C6-D38F-E5A0-2FA489826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47" y="830843"/>
            <a:ext cx="10298851" cy="5646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52753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8C5F65-0250-FC80-8C00-BCA744C27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5458E2E-4596-3365-EDA3-A36AA104E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9218" name="Picture 2" descr="Understanding OOP concepts | codersite">
            <a:extLst>
              <a:ext uri="{FF2B5EF4-FFF2-40B4-BE49-F238E27FC236}">
                <a16:creationId xmlns:a16="http://schemas.microsoft.com/office/drawing/2014/main" id="{48689B37-8612-3F01-AD30-2E22DE333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75" y="1604963"/>
            <a:ext cx="6953250" cy="364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1922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  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93F01CF-BEBB-D0B1-3074-ECCFE102BD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0264" y="1171139"/>
            <a:ext cx="1375807" cy="486542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7036264" y="2090720"/>
            <a:ext cx="1803907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温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CF26A21-9576-798A-968B-F27B0F5C989F}"/>
              </a:ext>
            </a:extLst>
          </p:cNvPr>
          <p:cNvSpPr txBox="1"/>
          <p:nvPr/>
        </p:nvSpPr>
        <p:spPr>
          <a:xfrm>
            <a:off x="7043754" y="3576209"/>
            <a:ext cx="1803907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吃东西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走路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F464E03-2EB7-1F7B-2189-9C1485B4EE1B}"/>
              </a:ext>
            </a:extLst>
          </p:cNvPr>
          <p:cNvSpPr txBox="1"/>
          <p:nvPr/>
        </p:nvSpPr>
        <p:spPr>
          <a:xfrm>
            <a:off x="8847661" y="2268942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属性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attribut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9D0E42E-BCFA-4F6D-F75C-6011722949B8}"/>
              </a:ext>
            </a:extLst>
          </p:cNvPr>
          <p:cNvSpPr txBox="1"/>
          <p:nvPr/>
        </p:nvSpPr>
        <p:spPr>
          <a:xfrm>
            <a:off x="8926088" y="4230485"/>
            <a:ext cx="3393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行为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behavior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393735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</a:t>
            </a:r>
            <a:endParaRPr lang="en-US" altLang="zh-CN" dirty="0"/>
          </a:p>
          <a:p>
            <a:pPr algn="ctr"/>
            <a:r>
              <a:rPr lang="zh-CN" altLang="en-US" dirty="0"/>
              <a:t>就是提取能表达这些动物的共同属性和行为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DB8B6F8-0CE8-2E7C-0152-37F135E71FD7}"/>
              </a:ext>
            </a:extLst>
          </p:cNvPr>
          <p:cNvSpPr txBox="1"/>
          <p:nvPr/>
        </p:nvSpPr>
        <p:spPr>
          <a:xfrm>
            <a:off x="3877531" y="436191"/>
            <a:ext cx="3321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1</a:t>
            </a:r>
            <a:r>
              <a:rPr lang="zh-CN" altLang="en-US" b="1" dirty="0"/>
              <a:t>： 给左边这些动物做抽象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7445D99-23A4-DCB3-3525-74805C2801A6}"/>
              </a:ext>
            </a:extLst>
          </p:cNvPr>
          <p:cNvSpPr txBox="1"/>
          <p:nvPr/>
        </p:nvSpPr>
        <p:spPr>
          <a:xfrm>
            <a:off x="6907202" y="5588304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动物的特征</a:t>
            </a:r>
          </a:p>
        </p:txBody>
      </p:sp>
    </p:spTree>
    <p:extLst>
      <p:ext uri="{BB962C8B-B14F-4D97-AF65-F5344CB8AC3E}">
        <p14:creationId xmlns:p14="http://schemas.microsoft.com/office/powerpoint/2010/main" val="3782693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ED8FC84-F3F9-7F89-CF37-2B348A8D6230}"/>
              </a:ext>
            </a:extLst>
          </p:cNvPr>
          <p:cNvSpPr/>
          <p:nvPr/>
        </p:nvSpPr>
        <p:spPr>
          <a:xfrm>
            <a:off x="6707333" y="1941617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6902252" y="1868049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品牌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  <a:p>
            <a:endParaRPr lang="en-US" altLang="zh-CN" dirty="0"/>
          </a:p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减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415737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 出来属性与行为</a:t>
            </a:r>
            <a:endParaRPr lang="en-US" altLang="zh-CN" dirty="0"/>
          </a:p>
        </p:txBody>
      </p:sp>
      <p:pic>
        <p:nvPicPr>
          <p:cNvPr id="5" name="图片 4" descr="图片包含 图标&#10;&#10;描述已自动生成">
            <a:extLst>
              <a:ext uri="{FF2B5EF4-FFF2-40B4-BE49-F238E27FC236}">
                <a16:creationId xmlns:a16="http://schemas.microsoft.com/office/drawing/2014/main" id="{3C1E0A3C-B4A0-A104-30D2-C4BD279786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8" y="1692264"/>
            <a:ext cx="1746340" cy="812842"/>
          </a:xfrm>
          <a:prstGeom prst="rect">
            <a:avLst/>
          </a:prstGeom>
        </p:spPr>
      </p:pic>
      <p:pic>
        <p:nvPicPr>
          <p:cNvPr id="4" name="图片 3" descr="卡车停在路边&#10;&#10;描述已自动生成">
            <a:extLst>
              <a:ext uri="{FF2B5EF4-FFF2-40B4-BE49-F238E27FC236}">
                <a16:creationId xmlns:a16="http://schemas.microsoft.com/office/drawing/2014/main" id="{47B1AA23-6996-0B34-60E6-6052B011E5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8" y="4565471"/>
            <a:ext cx="1529123" cy="874612"/>
          </a:xfrm>
          <a:prstGeom prst="rect">
            <a:avLst/>
          </a:prstGeom>
        </p:spPr>
      </p:pic>
      <p:pic>
        <p:nvPicPr>
          <p:cNvPr id="13318" name="Picture 6" descr="ambulance clip art done in | Clipart Panda - Free Clipart Images">
            <a:extLst>
              <a:ext uri="{FF2B5EF4-FFF2-40B4-BE49-F238E27FC236}">
                <a16:creationId xmlns:a16="http://schemas.microsoft.com/office/drawing/2014/main" id="{517E79B5-3939-45FC-12CE-B88CA3208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45" y="2980905"/>
            <a:ext cx="1478356" cy="110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57DDE82-8390-4667-F32D-93A07A5929DE}"/>
              </a:ext>
            </a:extLst>
          </p:cNvPr>
          <p:cNvSpPr txBox="1"/>
          <p:nvPr/>
        </p:nvSpPr>
        <p:spPr>
          <a:xfrm>
            <a:off x="3535625" y="810010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2</a:t>
            </a:r>
            <a:r>
              <a:rPr lang="zh-CN" altLang="en-US" b="1" dirty="0"/>
              <a:t>： 给左边这些汽车做抽象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201F07-E2B8-4212-8DA4-5DBCEA1F9104}"/>
              </a:ext>
            </a:extLst>
          </p:cNvPr>
          <p:cNvSpPr txBox="1"/>
          <p:nvPr/>
        </p:nvSpPr>
        <p:spPr>
          <a:xfrm>
            <a:off x="7134808" y="5511411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汽车的特征</a:t>
            </a:r>
          </a:p>
        </p:txBody>
      </p:sp>
    </p:spTree>
    <p:extLst>
      <p:ext uri="{BB962C8B-B14F-4D97-AF65-F5344CB8AC3E}">
        <p14:creationId xmlns:p14="http://schemas.microsoft.com/office/powerpoint/2010/main" val="2760974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209126" y="2646425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E2D7B1-56B2-90B9-7530-AAFDED0AA0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960" y="1129999"/>
            <a:ext cx="1061720" cy="15157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2265680" y="1129999"/>
            <a:ext cx="26371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3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挪威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锋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球队：曼城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C33062B-2961-13E0-0EAE-97C2ECFF36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445" y="2822030"/>
            <a:ext cx="1219351" cy="168027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2349797" y="2822029"/>
            <a:ext cx="20328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维尔茨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0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德国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腰</a:t>
            </a:r>
          </a:p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球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队：勒沃库森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3199A14-05D1-1B19-BEE8-3ED105822D17}"/>
              </a:ext>
            </a:extLst>
          </p:cNvPr>
          <p:cNvSpPr txBox="1"/>
          <p:nvPr/>
        </p:nvSpPr>
        <p:spPr>
          <a:xfrm>
            <a:off x="2444550" y="4668714"/>
            <a:ext cx="19381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加维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年龄：</a:t>
            </a:r>
            <a:r>
              <a:rPr lang="en-US" altLang="zh-CN" b="0" i="0" dirty="0">
                <a:solidFill>
                  <a:srgbClr val="191919"/>
                </a:solidFill>
                <a:effectLst/>
                <a:latin typeface="PingFang SC"/>
              </a:rPr>
              <a:t>19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国籍：西班牙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位置：中场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dirty="0">
                <a:solidFill>
                  <a:srgbClr val="191919"/>
                </a:solidFill>
                <a:latin typeface="PingFang SC"/>
              </a:rPr>
              <a:t>球</a:t>
            </a:r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伍：巴塞罗那</a:t>
            </a:r>
            <a:endParaRPr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912565A-1A58-285A-4D30-B9CC2DD03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8738" y="4626658"/>
            <a:ext cx="1203195" cy="1764387"/>
          </a:xfrm>
          <a:prstGeom prst="rect">
            <a:avLst/>
          </a:prstGeom>
        </p:spPr>
      </p:pic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295974" y="1264020"/>
            <a:ext cx="651722" cy="479629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232103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554266" y="1871112"/>
            <a:ext cx="3057909" cy="369331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国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球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位置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踢球运动</a:t>
            </a:r>
            <a:r>
              <a:rPr lang="en-US" altLang="zh-CN" dirty="0"/>
              <a:t> 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习</a:t>
            </a:r>
            <a:r>
              <a:rPr lang="en-US" altLang="zh-CN" dirty="0"/>
              <a:t>	lea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 </a:t>
            </a:r>
            <a:r>
              <a:rPr lang="en-US" altLang="zh-CN" dirty="0"/>
              <a:t>	sleep</a:t>
            </a:r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3048663" y="3578802"/>
            <a:ext cx="60946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4020654" y="314153"/>
            <a:ext cx="3704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3</a:t>
            </a:r>
            <a:r>
              <a:rPr lang="zh-CN" altLang="en-US" b="1" dirty="0"/>
              <a:t>： 以下足球明星星 抽象 过程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18831" y="5686602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球员的特征</a:t>
            </a:r>
          </a:p>
        </p:txBody>
      </p:sp>
    </p:spTree>
    <p:extLst>
      <p:ext uri="{BB962C8B-B14F-4D97-AF65-F5344CB8AC3E}">
        <p14:creationId xmlns:p14="http://schemas.microsoft.com/office/powerpoint/2010/main" val="1872203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D0EB8D-0C62-1D70-83CB-6ECF73389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54072B1-25E7-AE2D-86F1-7EE46C8757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6</a:t>
            </a:fld>
            <a:endParaRPr lang="zh-CN" altLang="en-US"/>
          </a:p>
        </p:txBody>
      </p:sp>
      <p:pic>
        <p:nvPicPr>
          <p:cNvPr id="1030" name="Picture 6" descr="Jobs and Occupations Vocabulary | List of Jobs and Occupations ...">
            <a:extLst>
              <a:ext uri="{FF2B5EF4-FFF2-40B4-BE49-F238E27FC236}">
                <a16:creationId xmlns:a16="http://schemas.microsoft.com/office/drawing/2014/main" id="{684794C1-D17A-2EFB-0F49-33671C517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107" y="701992"/>
            <a:ext cx="10060753" cy="5688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8211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FDE884-B11F-5646-5503-A01CA2A02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E97076B-E1F3-17E9-5754-8D611CD35B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7</a:t>
            </a:fld>
            <a:endParaRPr lang="zh-CN" altLang="en-US"/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3F4510C4-5CF1-B5AF-519A-0DAE1BC7F7E3}"/>
              </a:ext>
            </a:extLst>
          </p:cNvPr>
          <p:cNvSpPr/>
          <p:nvPr/>
        </p:nvSpPr>
        <p:spPr>
          <a:xfrm>
            <a:off x="5580933" y="2791685"/>
            <a:ext cx="1766873" cy="85752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</a:t>
            </a:r>
            <a:endParaRPr lang="en-US" altLang="zh-CN" dirty="0"/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29935E47-FDDF-5EE3-35C7-1D90ECBBE41D}"/>
              </a:ext>
            </a:extLst>
          </p:cNvPr>
          <p:cNvGrpSpPr/>
          <p:nvPr/>
        </p:nvGrpSpPr>
        <p:grpSpPr>
          <a:xfrm>
            <a:off x="8554128" y="1977458"/>
            <a:ext cx="1997253" cy="3095474"/>
            <a:chOff x="8495818" y="2430683"/>
            <a:chExt cx="1400537" cy="1866418"/>
          </a:xfrm>
        </p:grpSpPr>
        <p:sp>
          <p:nvSpPr>
            <p:cNvPr id="12" name="矩形: 圆顶角 11">
              <a:extLst>
                <a:ext uri="{FF2B5EF4-FFF2-40B4-BE49-F238E27FC236}">
                  <a16:creationId xmlns:a16="http://schemas.microsoft.com/office/drawing/2014/main" id="{1F57B89C-DD0D-9F1B-55ED-A7C38DB4E009}"/>
                </a:ext>
              </a:extLst>
            </p:cNvPr>
            <p:cNvSpPr/>
            <p:nvPr/>
          </p:nvSpPr>
          <p:spPr>
            <a:xfrm>
              <a:off x="8495818" y="2430683"/>
              <a:ext cx="1400537" cy="376178"/>
            </a:xfrm>
            <a:prstGeom prst="round2SameRect">
              <a:avLst/>
            </a:prstGeom>
            <a:solidFill>
              <a:srgbClr val="7FC8EB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学生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207591-F6E8-166F-3F1C-B19670CB94B7}"/>
                </a:ext>
              </a:extLst>
            </p:cNvPr>
            <p:cNvSpPr/>
            <p:nvPr/>
          </p:nvSpPr>
          <p:spPr>
            <a:xfrm>
              <a:off x="8495818" y="2806861"/>
              <a:ext cx="1400536" cy="74656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5444DD8C-F375-2320-477D-6CFB1B5C7EE3}"/>
                </a:ext>
              </a:extLst>
            </p:cNvPr>
            <p:cNvSpPr/>
            <p:nvPr/>
          </p:nvSpPr>
          <p:spPr>
            <a:xfrm>
              <a:off x="8495818" y="3550534"/>
              <a:ext cx="1400536" cy="74656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id="{892C6871-79CD-B560-3DEF-6EFDF51EBCF3}"/>
              </a:ext>
            </a:extLst>
          </p:cNvPr>
          <p:cNvSpPr txBox="1"/>
          <p:nvPr/>
        </p:nvSpPr>
        <p:spPr>
          <a:xfrm>
            <a:off x="8627409" y="2655743"/>
            <a:ext cx="6463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姓名</a:t>
            </a:r>
            <a:endParaRPr lang="en-US" altLang="zh-CN" dirty="0"/>
          </a:p>
          <a:p>
            <a:r>
              <a:rPr lang="zh-CN" altLang="en-US" dirty="0"/>
              <a:t>年龄</a:t>
            </a:r>
            <a:endParaRPr lang="en-US" altLang="zh-CN" dirty="0"/>
          </a:p>
          <a:p>
            <a:r>
              <a:rPr lang="zh-CN" altLang="en-US" dirty="0"/>
              <a:t>性别</a:t>
            </a:r>
            <a:endParaRPr lang="en-US" altLang="zh-CN" dirty="0"/>
          </a:p>
          <a:p>
            <a:r>
              <a:rPr lang="zh-CN" altLang="en-US" dirty="0"/>
              <a:t>专业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EA8832EC-50F2-2FB8-9E8F-B50635FC1F6B}"/>
              </a:ext>
            </a:extLst>
          </p:cNvPr>
          <p:cNvSpPr txBox="1"/>
          <p:nvPr/>
        </p:nvSpPr>
        <p:spPr>
          <a:xfrm>
            <a:off x="8719742" y="3915604"/>
            <a:ext cx="110799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选课</a:t>
            </a:r>
            <a:endParaRPr lang="en-US" altLang="zh-CN" dirty="0"/>
          </a:p>
          <a:p>
            <a:r>
              <a:rPr lang="zh-CN" altLang="en-US" dirty="0"/>
              <a:t>上课</a:t>
            </a:r>
            <a:endParaRPr lang="en-US" altLang="zh-CN" dirty="0"/>
          </a:p>
          <a:p>
            <a:r>
              <a:rPr lang="zh-CN" altLang="en-US" dirty="0"/>
              <a:t>运动</a:t>
            </a:r>
            <a:endParaRPr lang="en-US" altLang="zh-CN" dirty="0"/>
          </a:p>
          <a:p>
            <a:r>
              <a:rPr lang="zh-CN" altLang="en-US" dirty="0"/>
              <a:t>参加社团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3972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C07319-0604-F708-56FD-EB67A780F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82FE65-84F1-123C-1CD7-34C2D4F93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8797E03-D091-9F44-D317-38F20661571D}"/>
              </a:ext>
            </a:extLst>
          </p:cNvPr>
          <p:cNvSpPr txBox="1"/>
          <p:nvPr/>
        </p:nvSpPr>
        <p:spPr>
          <a:xfrm>
            <a:off x="3047338" y="3127701"/>
            <a:ext cx="6094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>
                <a:hlinkClick r:id="rId2"/>
              </a:rPr>
              <a:t>C++</a:t>
            </a:r>
            <a:r>
              <a:rPr lang="zh-CN" altLang="en-US" dirty="0">
                <a:hlinkClick r:id="rId2"/>
              </a:rPr>
              <a:t>面向对象程序设计（第</a:t>
            </a:r>
            <a:r>
              <a:rPr lang="en-US" altLang="zh-CN" dirty="0">
                <a:hlinkClick r:id="rId2"/>
              </a:rPr>
              <a:t>4</a:t>
            </a:r>
            <a:r>
              <a:rPr lang="zh-CN" altLang="en-US" dirty="0">
                <a:hlinkClick r:id="rId2"/>
              </a:rPr>
              <a:t>版）</a:t>
            </a:r>
            <a:r>
              <a:rPr lang="en-US" altLang="zh-CN" dirty="0">
                <a:hlinkClick r:id="rId2"/>
              </a:rPr>
              <a:t>PPT</a:t>
            </a:r>
            <a:r>
              <a:rPr lang="zh-CN" altLang="en-US" dirty="0">
                <a:hlinkClick r:id="rId2"/>
              </a:rPr>
              <a:t>完整全套教学课件 </a:t>
            </a:r>
            <a:r>
              <a:rPr lang="en-US" altLang="zh-CN" dirty="0">
                <a:hlinkClick r:id="rId2"/>
              </a:rPr>
              <a:t>- </a:t>
            </a:r>
            <a:r>
              <a:rPr lang="zh-CN" altLang="en-US" dirty="0">
                <a:hlinkClick r:id="rId2"/>
              </a:rPr>
              <a:t>道客巴巴 </a:t>
            </a:r>
            <a:r>
              <a:rPr lang="en-US" altLang="zh-CN" dirty="0">
                <a:hlinkClick r:id="rId2"/>
              </a:rPr>
              <a:t>(doc88.com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6600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EDA589-9FE5-039C-5746-B796D3ED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象 </a:t>
            </a:r>
            <a:r>
              <a:rPr lang="en-US" altLang="zh-CN" dirty="0"/>
              <a:t>-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13265C2-E244-4136-3108-C3EC166636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B24D71-D3CD-4238-8384-7F99D478D4AE}" type="slidenum">
              <a:rPr lang="zh-CN" altLang="en-US" smtClean="0"/>
              <a:t>9</a:t>
            </a:fld>
            <a:endParaRPr lang="zh-CN" altLang="en-US"/>
          </a:p>
        </p:txBody>
      </p:sp>
      <p:pic>
        <p:nvPicPr>
          <p:cNvPr id="7" name="图片 6" descr="黑色的狗&#10;&#10;描述已自动生成">
            <a:extLst>
              <a:ext uri="{FF2B5EF4-FFF2-40B4-BE49-F238E27FC236}">
                <a16:creationId xmlns:a16="http://schemas.microsoft.com/office/drawing/2014/main" id="{62AA9651-6BBD-7D1C-4BE8-1949CA9204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69" y="1240720"/>
            <a:ext cx="1491007" cy="2081600"/>
          </a:xfrm>
          <a:prstGeom prst="rect">
            <a:avLst/>
          </a:prstGeom>
        </p:spPr>
      </p:pic>
      <p:pic>
        <p:nvPicPr>
          <p:cNvPr id="9" name="图片 8" descr="小狗在草地上&#10;&#10;描述已自动生成">
            <a:extLst>
              <a:ext uri="{FF2B5EF4-FFF2-40B4-BE49-F238E27FC236}">
                <a16:creationId xmlns:a16="http://schemas.microsoft.com/office/drawing/2014/main" id="{47BF5F7B-6695-60A6-C6A4-16B1AB6D63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2625"/>
            <a:ext cx="2134921" cy="248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0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63CFE3"/>
      </a:accent1>
      <a:accent2>
        <a:srgbClr val="89DC65"/>
      </a:accent2>
      <a:accent3>
        <a:srgbClr val="EDDB00"/>
      </a:accent3>
      <a:accent4>
        <a:srgbClr val="F18A00"/>
      </a:accent4>
      <a:accent5>
        <a:srgbClr val="FFC000"/>
      </a:accent5>
      <a:accent6>
        <a:srgbClr val="999999"/>
      </a:accent6>
      <a:hlink>
        <a:srgbClr val="FFFFFF"/>
      </a:hlink>
      <a:folHlink>
        <a:srgbClr val="954F72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主题3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3" id="{E87A4C91-4822-4ADE-9AEF-C59EB1853CAA}" vid="{B2DDBFFB-3A8F-437B-9B78-E68B5A0531F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642f80c4-7f1c-43b1-ad7e-8f576f781e3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CDD8537C503640905C0294021EED2B" ma:contentTypeVersion="10" ma:contentTypeDescription="Create a new document." ma:contentTypeScope="" ma:versionID="16ebc6ce161d0f2ee3c0e9e7330a32db">
  <xsd:schema xmlns:xsd="http://www.w3.org/2001/XMLSchema" xmlns:xs="http://www.w3.org/2001/XMLSchema" xmlns:p="http://schemas.microsoft.com/office/2006/metadata/properties" xmlns:ns2="6c8bfc86-784d-4543-b6ef-848085f5d899" xmlns:ns3="642f80c4-7f1c-43b1-ad7e-8f576f781e3b" targetNamespace="http://schemas.microsoft.com/office/2006/metadata/properties" ma:root="true" ma:fieldsID="b2e4a2fe31886a5e6d2672f83da0f6f3" ns2:_="" ns3:_="">
    <xsd:import namespace="6c8bfc86-784d-4543-b6ef-848085f5d899"/>
    <xsd:import namespace="642f80c4-7f1c-43b1-ad7e-8f576f781e3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Ye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bfc86-784d-4543-b6ef-848085f5d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f80c4-7f1c-43b1-ad7e-8f576f781e3b" elementFormDefault="qualified">
    <xsd:import namespace="http://schemas.microsoft.com/office/2006/documentManagement/types"/>
    <xsd:import namespace="http://schemas.microsoft.com/office/infopath/2007/PartnerControls"/>
    <xsd:element name="Year" ma:index="10" nillable="true" ma:displayName="Year" ma:decimals="0" ma:format="Dropdown" ma:internalName="Year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sisl xmlns:xsi="http://www.w3.org/2001/XMLSchema-instance" xmlns:xsd="http://www.w3.org/2001/XMLSchema" xmlns="http://www.boldonjames.com/2008/01/sie/internal/label" sislVersion="0" policy="4435b5f9-a1a7-472c-9357-90ede2ba1ef5" origin="userSelected">
  <element uid="cc20cbce-588c-49bb-a695-6b3c03b314c4" value=""/>
</sisl>
</file>

<file path=customXml/itemProps1.xml><?xml version="1.0" encoding="utf-8"?>
<ds:datastoreItem xmlns:ds="http://schemas.openxmlformats.org/officeDocument/2006/customXml" ds:itemID="{A2AE2DF4-8052-4BEF-AA0D-B4A2A33B1F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8D9714-CED8-4F03-88CE-4B42AD8BA2AF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c8bfc86-784d-4543-b6ef-848085f5d89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42f80c4-7f1c-43b1-ad7e-8f576f781e3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CF2F42-7607-4B00-9AA3-DAD0128DD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8bfc86-784d-4543-b6ef-848085f5d899"/>
    <ds:schemaRef ds:uri="642f80c4-7f1c-43b1-ad7e-8f576f781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F4A5132-C8AD-4155-9B1C-92EF9016895F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444</TotalTime>
  <Words>353</Words>
  <Application>Microsoft Office PowerPoint</Application>
  <PresentationFormat>宽屏</PresentationFormat>
  <Paragraphs>118</Paragraphs>
  <Slides>2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44" baseType="lpstr">
      <vt:lpstr>Coca-Cola Care Font KaiTi</vt:lpstr>
      <vt:lpstr>Microsoft JhengHei</vt:lpstr>
      <vt:lpstr>PingFang SC</vt:lpstr>
      <vt:lpstr>等线</vt:lpstr>
      <vt:lpstr>等线 Light</vt:lpstr>
      <vt:lpstr>可口可乐在乎体 楷体</vt:lpstr>
      <vt:lpstr>Microsoft YaHei</vt:lpstr>
      <vt:lpstr>Microsoft YaHei</vt:lpstr>
      <vt:lpstr>Arial</vt:lpstr>
      <vt:lpstr>Calibri</vt:lpstr>
      <vt:lpstr>Calibri Light</vt:lpstr>
      <vt:lpstr>Impact</vt:lpstr>
      <vt:lpstr>Poppins</vt:lpstr>
      <vt:lpstr>Trebuchet MS</vt:lpstr>
      <vt:lpstr>Office Theme</vt:lpstr>
      <vt:lpstr>1_Office Theme</vt:lpstr>
      <vt:lpstr>4_自定义设计方案</vt:lpstr>
      <vt:lpstr>主题3</vt:lpstr>
      <vt:lpstr>think-cell Slide</vt:lpstr>
      <vt:lpstr>OOP基本概念</vt:lpstr>
      <vt:lpstr>概念理解   - 抽象（Abstraction）</vt:lpstr>
      <vt:lpstr>抽象(Abstraction )        </vt:lpstr>
      <vt:lpstr>抽象(Abstraction</vt:lpstr>
      <vt:lpstr>抽象(Abstraction )   </vt:lpstr>
      <vt:lpstr>PowerPoint 演示文稿</vt:lpstr>
      <vt:lpstr>PowerPoint 演示文稿</vt:lpstr>
      <vt:lpstr>抽象(Abstraction ) </vt:lpstr>
      <vt:lpstr>对象 - Object</vt:lpstr>
      <vt:lpstr>1. 对象   -  Objec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OOP基本概念 – 抽象(Abstrac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Feng</dc:creator>
  <cp:lastModifiedBy>Chen Nianlai(陈年来)</cp:lastModifiedBy>
  <cp:revision>771</cp:revision>
  <dcterms:created xsi:type="dcterms:W3CDTF">2022-05-25T10:04:09Z</dcterms:created>
  <dcterms:modified xsi:type="dcterms:W3CDTF">2024-09-19T05:4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CDD8537C503640905C0294021EED2B</vt:lpwstr>
  </property>
  <property fmtid="{D5CDD505-2E9C-101B-9397-08002B2CF9AE}" pid="3" name="docIndexRef">
    <vt:lpwstr>b2f08121-282a-4b40-886e-3acb57e498f2</vt:lpwstr>
  </property>
  <property fmtid="{D5CDD505-2E9C-101B-9397-08002B2CF9AE}" pid="4" name="bjSaver">
    <vt:lpwstr>xLTV7zuHSkQoTi22QbtFccrcTURzXlK2</vt:lpwstr>
  </property>
  <property fmtid="{D5CDD505-2E9C-101B-9397-08002B2CF9AE}" pid="5" name="bjDocumentSecurityLabel">
    <vt:lpwstr>仅供内部使用</vt:lpwstr>
  </property>
  <property fmtid="{D5CDD505-2E9C-101B-9397-08002B2CF9AE}" pid="6" name="symc_label">
    <vt:lpwstr>DLP_仅供内部使用4Symc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4435b5f9-a1a7-472c-9357-90ede2ba1ef5" origin="userSelected" xmlns="http://www.boldonj</vt:lpwstr>
  </property>
  <property fmtid="{D5CDD505-2E9C-101B-9397-08002B2CF9AE}" pid="8" name="bjDocumentLabelXML-0">
    <vt:lpwstr>ames.com/2008/01/sie/internal/label"&gt;&lt;element uid="cc20cbce-588c-49bb-a695-6b3c03b314c4" value="" /&gt;&lt;/sisl&gt;</vt:lpwstr>
  </property>
  <property fmtid="{D5CDD505-2E9C-101B-9397-08002B2CF9AE}" pid="9" name="bjSlideMasterFooterText">
    <vt:lpwstr>仅供内部使用</vt:lpwstr>
  </property>
</Properties>
</file>